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073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CECE45-A1F4-41D7-B4A4-B96ED3EDA76F}" type="datetimeFigureOut">
              <a:rPr lang="zh-CN" altLang="en-US" smtClean="0"/>
              <a:t>2025/9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25ABEA-ED88-4C9A-AE80-809DFFD7A92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9220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9098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235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65503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6624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69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53576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5353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36340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oleObject" Target="../embeddings/oleObject5.bin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145ADC97-26ED-0B47-49BA-B16C703949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A21A6F6-157A-CE0B-61C0-D2E4850F95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13" imgW="410" imgH="409" progId="TCLayout.ActiveDocument.1">
                  <p:embed/>
                </p:oleObj>
              </mc:Choice>
              <mc:Fallback>
                <p:oleObj name="think-cell 幻灯片" r:id="rId13" imgW="410" imgH="409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21A6F6-157A-CE0B-61C0-D2E4850F95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9D938C5-651A-EBF1-1387-383D85268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 wrap="square" anchor="t">
            <a:spAutoFit/>
          </a:bodyPr>
          <a:lstStyle/>
          <a:p>
            <a:r>
              <a:rPr lang="en-US" dirty="0"/>
              <a:t>{title}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63588" y="1557338"/>
            <a:ext cx="5529263" cy="2076450"/>
          </a:xfrm>
          <a:prstGeom prst="rect">
            <a:avLst/>
          </a:prstGeom>
          <a:solidFill>
            <a:schemeClr val="bg2"/>
          </a:solidFill>
          <a:ln>
            <a:solidFill>
              <a:schemeClr val="accent5"/>
            </a:solidFill>
          </a:ln>
          <a:effectLst/>
        </p:spPr>
        <p:txBody>
          <a:bodyPr vert="horz" wrap="none" lIns="92075" tIns="92075" rIns="0" bIns="900113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9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139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description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355600" marR="0" lvl="1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content}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1701D566-F415-AF2D-8BD8-C0A465825A5E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763588" y="3633789"/>
            <a:ext cx="5529263" cy="2074863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txBody>
          <a:bodyPr vert="horz" wrap="none" lIns="92075" tIns="90488" rIns="0" bIns="86995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sym typeface="Futura"/>
              </a:rPr>
              <a:t>{bullet_3}</a:t>
            </a:r>
          </a:p>
          <a:p>
            <a:pPr lvl="0" indent="0">
              <a:spcAft>
                <a:spcPts val="1200"/>
              </a:spcAft>
              <a:buClr>
                <a:srgbClr val="000000"/>
              </a:buClr>
              <a:buNone/>
              <a:defRPr/>
            </a:pPr>
            <a:r>
              <a:rPr lang="en-US" altLang="zh-CN" sz="1100" b="1" dirty="0">
                <a:solidFill>
                  <a:srgbClr val="03522D"/>
                </a:solidFill>
                <a:sym typeface="Futura"/>
              </a:rPr>
              <a:t>{bullet_3_description}</a:t>
            </a:r>
            <a:endParaRPr lang="en-US" altLang="zh-CN" sz="1400" b="1" dirty="0">
              <a:solidFill>
                <a:srgbClr val="03522D"/>
              </a:solidFill>
              <a:sym typeface="Futura"/>
            </a:endParaRPr>
          </a:p>
          <a:p>
            <a:pPr marL="355600" lvl="1" indent="-17462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100" dirty="0">
                <a:solidFill>
                  <a:srgbClr val="000000"/>
                </a:solidFill>
                <a:sym typeface="Futura"/>
              </a:rPr>
              <a:t>{bullet_3_content}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16FEC9D-6FEE-A7EE-38BF-D20ED56F22A6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6292850" y="1557338"/>
            <a:ext cx="5527675" cy="2076450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txBody>
          <a:bodyPr vert="horz" wrap="none" lIns="90488" tIns="92075" rIns="0" bIns="900113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sym typeface="Futura"/>
              </a:rPr>
              <a:t>{bullet_2}</a:t>
            </a:r>
          </a:p>
          <a:p>
            <a:pPr lvl="0" indent="0">
              <a:spcAft>
                <a:spcPts val="1200"/>
              </a:spcAft>
              <a:buClr>
                <a:srgbClr val="000000"/>
              </a:buClr>
              <a:buNone/>
              <a:defRPr/>
            </a:pPr>
            <a:r>
              <a:rPr lang="en-US" altLang="zh-CN" sz="1100" b="1" dirty="0">
                <a:solidFill>
                  <a:srgbClr val="03522D"/>
                </a:solidFill>
                <a:sym typeface="Futura"/>
              </a:rPr>
              <a:t>{bullet_2_description}</a:t>
            </a:r>
            <a:endParaRPr lang="en-US" altLang="zh-CN" sz="1400" b="1" dirty="0">
              <a:solidFill>
                <a:srgbClr val="03522D"/>
              </a:solidFill>
              <a:sym typeface="Futura"/>
            </a:endParaRPr>
          </a:p>
          <a:p>
            <a:pPr marL="355600" lvl="1" indent="-17462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100" dirty="0">
                <a:solidFill>
                  <a:srgbClr val="000000"/>
                </a:solidFill>
                <a:sym typeface="Futura"/>
              </a:rPr>
              <a:t>{bullet_2_content}</a:t>
            </a:r>
          </a:p>
          <a:p>
            <a:pPr marL="355600" marR="0" lvl="1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4D2BBC5-E515-8B17-D135-D71C5215DEF5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6292850" y="3633789"/>
            <a:ext cx="5527675" cy="2074863"/>
          </a:xfrm>
          <a:prstGeom prst="rect">
            <a:avLst/>
          </a:prstGeom>
          <a:solidFill>
            <a:schemeClr val="bg2"/>
          </a:solidFill>
          <a:ln>
            <a:solidFill>
              <a:schemeClr val="accent5"/>
            </a:solidFill>
          </a:ln>
          <a:effectLst/>
        </p:spPr>
        <p:txBody>
          <a:bodyPr vert="horz" wrap="none" lIns="90488" tIns="90488" rIns="0" bIns="900113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sym typeface="Futura"/>
              </a:rPr>
              <a:t>{bullet_4}</a:t>
            </a:r>
          </a:p>
          <a:p>
            <a:pPr lvl="0" indent="0">
              <a:spcAft>
                <a:spcPts val="1200"/>
              </a:spcAft>
              <a:buClr>
                <a:srgbClr val="000000"/>
              </a:buClr>
              <a:buNone/>
              <a:defRPr/>
            </a:pPr>
            <a:r>
              <a:rPr lang="en-US" altLang="zh-CN" sz="1100" b="1" dirty="0">
                <a:solidFill>
                  <a:srgbClr val="03522D"/>
                </a:solidFill>
                <a:sym typeface="Futura"/>
              </a:rPr>
              <a:t>{bullet_4_description}</a:t>
            </a:r>
            <a:endParaRPr lang="en-US" altLang="zh-CN" sz="1400" b="1" dirty="0">
              <a:solidFill>
                <a:srgbClr val="03522D"/>
              </a:solidFill>
              <a:sym typeface="Futura"/>
            </a:endParaRPr>
          </a:p>
          <a:p>
            <a:pPr marL="355600" lvl="1" indent="-17462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100" dirty="0">
                <a:solidFill>
                  <a:srgbClr val="000000"/>
                </a:solidFill>
                <a:sym typeface="Futura"/>
              </a:rPr>
              <a:t>{bullet_4_content}</a:t>
            </a:r>
          </a:p>
          <a:p>
            <a:pPr marL="355600" marR="0" lvl="1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54EE6E9-0235-1800-E4BB-B9B11BB51A17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763588" y="5708650"/>
            <a:ext cx="5529263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88900" rIns="0" bIns="8890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{feature_3}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787EA35-6916-AC5B-5E43-F8B18C1D877D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292850" y="5708650"/>
            <a:ext cx="5527675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88900" rIns="0" bIns="8890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{feature_4}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B1C4D6A0-1D56-EE56-8DD1-FFD37BDB8AD8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03225" y="3633789"/>
            <a:ext cx="360363" cy="207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vert270" wrap="none" lIns="88900" tIns="1588" rIns="889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{feature_1}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87332969-580B-9914-B58C-3886D80ABE87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03225" y="1557338"/>
            <a:ext cx="360363" cy="2076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vert270" wrap="none" lIns="88900" tIns="0" rIns="889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{feature_2}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ED3486DE-C887-B5CC-5D73-D2A44CEA8F2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48305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trices, table, tables, think-cell</a:t>
            </a:r>
          </a:p>
        </p:txBody>
      </p:sp>
      <p:sp>
        <p:nvSpPr>
          <p:cNvPr id="2" name="Rectangle 18">
            <a:extLst>
              <a:ext uri="{FF2B5EF4-FFF2-40B4-BE49-F238E27FC236}">
                <a16:creationId xmlns:a16="http://schemas.microsoft.com/office/drawing/2014/main" id="{B7C513E5-7287-7ABB-9DF7-6016FD1388CD}"/>
              </a:ext>
            </a:extLst>
          </p:cNvPr>
          <p:cNvSpPr>
            <a:spLocks/>
          </p:cNvSpPr>
          <p:nvPr/>
        </p:nvSpPr>
        <p:spPr>
          <a:xfrm>
            <a:off x="8811109" y="-251996"/>
            <a:ext cx="4575600" cy="8113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matrix is created using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text boxes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6995" marR="0" lvl="0" indent="-8699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edit the tex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simply click the text box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6995" marR="0" lvl="0" indent="-8699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 the style and format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with ribbon commands or the think-cell mini toolbar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710141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CPUQQZnRXhQIICjVED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gWyoVnQeWsVN.ixU7r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u0viRdEIszKzcd5FsG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H6vGQrJBp0anKiIDQ_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8E1aOoX90PK_.Mnq0D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9L04LMzAIZMCJ3ui0c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uYBvRWVrFSIZqc_8AL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yZVhEqrYzN0TkqQwKz5g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42</Words>
  <Application>Microsoft Office PowerPoint</Application>
  <PresentationFormat>宽屏</PresentationFormat>
  <Paragraphs>2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5T05:53:07Z</dcterms:created>
  <dcterms:modified xsi:type="dcterms:W3CDTF">2025-09-05T05:54:55Z</dcterms:modified>
</cp:coreProperties>
</file>